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1" r:id="rId1"/>
  </p:sldMasterIdLst>
  <p:sldIdLst>
    <p:sldId id="256" r:id="rId2"/>
    <p:sldId id="257" r:id="rId3"/>
    <p:sldId id="263" r:id="rId4"/>
    <p:sldId id="260" r:id="rId5"/>
    <p:sldId id="259" r:id="rId6"/>
    <p:sldId id="262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8" autoAdjust="0"/>
    <p:restoredTop sz="94660"/>
  </p:normalViewPr>
  <p:slideViewPr>
    <p:cSldViewPr snapToGrid="0">
      <p:cViewPr varScale="1">
        <p:scale>
          <a:sx n="83" d="100"/>
          <a:sy n="83" d="100"/>
        </p:scale>
        <p:origin x="45" y="27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417779" y="802298"/>
            <a:ext cx="8637073" cy="2541431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17780" y="3531204"/>
            <a:ext cx="8637072" cy="977621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2BD4D-7CB4-43F1-A0C0-6A77C46C338F}" type="datetimeFigureOut">
              <a:rPr lang="en-US" smtClean="0"/>
              <a:t>6/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16500" y="329307"/>
            <a:ext cx="4973915" cy="309201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7664" y="798973"/>
            <a:ext cx="811019" cy="503578"/>
          </a:xfrm>
        </p:spPr>
        <p:txBody>
          <a:bodyPr/>
          <a:lstStyle/>
          <a:p>
            <a:fld id="{01E77A8C-2EB7-4DB1-8100-6F1CD2991FFC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2417780" y="3528542"/>
            <a:ext cx="863707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7763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2BD4D-7CB4-43F1-A0C0-6A77C46C338F}" type="datetimeFigureOut">
              <a:rPr lang="en-US" smtClean="0"/>
              <a:t>6/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77A8C-2EB7-4DB1-8100-6F1CD2991FFC}" type="slidenum">
              <a:rPr lang="en-US" smtClean="0"/>
              <a:t>‹#›</a:t>
            </a:fld>
            <a:endParaRPr lang="en-US"/>
          </a:p>
        </p:txBody>
      </p:sp>
      <p:cxnSp>
        <p:nvCxnSpPr>
          <p:cNvPr id="26" name="Straight Connector 25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08174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439111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44672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2BD4D-7CB4-43F1-A0C0-6A77C46C338F}" type="datetimeFigureOut">
              <a:rPr lang="en-US" smtClean="0"/>
              <a:t>6/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77A8C-2EB7-4DB1-8100-6F1CD2991FFC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9439111" y="798973"/>
            <a:ext cx="0" cy="4659889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4656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2BD4D-7CB4-43F1-A0C0-6A77C46C338F}" type="datetimeFigureOut">
              <a:rPr lang="en-US" smtClean="0"/>
              <a:t>6/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77A8C-2EB7-4DB1-8100-6F1CD2991FFC}" type="slidenum">
              <a:rPr lang="en-US" smtClean="0"/>
              <a:t>‹#›</a:t>
            </a:fld>
            <a:endParaRPr lang="en-US"/>
          </a:p>
        </p:txBody>
      </p:sp>
      <p:cxnSp>
        <p:nvCxnSpPr>
          <p:cNvPr id="33" name="Straight Connector 32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578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239" y="1756130"/>
            <a:ext cx="8643154" cy="188795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4239" y="3806195"/>
            <a:ext cx="8630446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2BD4D-7CB4-43F1-A0C0-6A77C46C338F}" type="datetimeFigureOut">
              <a:rPr lang="en-US" smtClean="0"/>
              <a:t>6/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77A8C-2EB7-4DB1-8100-6F1CD2991FFC}" type="slidenum">
              <a:rPr lang="en-US" smtClean="0"/>
              <a:t>‹#›</a:t>
            </a:fld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1454239" y="3804985"/>
            <a:ext cx="8630446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16642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9217" y="804889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47331" y="2010878"/>
            <a:ext cx="4645152" cy="34485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3771" y="2017343"/>
            <a:ext cx="4645152" cy="34415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2BD4D-7CB4-43F1-A0C0-6A77C46C338F}" type="datetimeFigureOut">
              <a:rPr lang="en-US" smtClean="0"/>
              <a:t>6/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77A8C-2EB7-4DB1-8100-6F1CD2991FFC}" type="slidenum">
              <a:rPr lang="en-US" smtClean="0"/>
              <a:t>‹#›</a:t>
            </a:fld>
            <a:endParaRPr lang="en-US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448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7191" y="804163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47191" y="2019549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47191" y="2824269"/>
            <a:ext cx="4645152" cy="264445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2362" y="2023003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200" b="0" cap="all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2362" y="2821491"/>
            <a:ext cx="4645152" cy="26373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2BD4D-7CB4-43F1-A0C0-6A77C46C338F}" type="datetimeFigureOut">
              <a:rPr lang="en-US" smtClean="0"/>
              <a:t>6/2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77A8C-2EB7-4DB1-8100-6F1CD2991FFC}" type="slidenum">
              <a:rPr lang="en-US" smtClean="0"/>
              <a:t>‹#›</a:t>
            </a:fld>
            <a:endParaRPr lang="en-US"/>
          </a:p>
        </p:txBody>
      </p:sp>
      <p:cxnSp>
        <p:nvCxnSpPr>
          <p:cNvPr id="29" name="Straight Connector 28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72616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2BD4D-7CB4-43F1-A0C0-6A77C46C338F}" type="datetimeFigureOut">
              <a:rPr lang="en-US" smtClean="0"/>
              <a:t>6/2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77A8C-2EB7-4DB1-8100-6F1CD2991FFC}" type="slidenum">
              <a:rPr lang="en-US" smtClean="0"/>
              <a:t>‹#›</a:t>
            </a:fld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>
            <a:off x="1453896" y="1847088"/>
            <a:ext cx="9607522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4667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2BD4D-7CB4-43F1-A0C0-6A77C46C338F}" type="datetimeFigureOut">
              <a:rPr lang="en-US" smtClean="0"/>
              <a:t>6/2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77A8C-2EB7-4DB1-8100-6F1CD2991F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3819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71" y="798973"/>
            <a:ext cx="3273099" cy="2247117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43714" y="798974"/>
            <a:ext cx="6012470" cy="4658826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44671" y="3205491"/>
            <a:ext cx="3275013" cy="2248181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12BD4D-7CB4-43F1-A0C0-6A77C46C338F}" type="datetimeFigureOut">
              <a:rPr lang="en-US" smtClean="0"/>
              <a:t>6/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77A8C-2EB7-4DB1-8100-6F1CD2991FFC}" type="slidenum">
              <a:rPr lang="en-US" smtClean="0"/>
              <a:t>‹#›</a:t>
            </a:fld>
            <a:endParaRPr lang="en-US"/>
          </a:p>
        </p:txBody>
      </p:sp>
      <p:cxnSp>
        <p:nvCxnSpPr>
          <p:cNvPr id="17" name="Straight Connector 16"/>
          <p:cNvCxnSpPr/>
          <p:nvPr/>
        </p:nvCxnSpPr>
        <p:spPr>
          <a:xfrm>
            <a:off x="1448280" y="3205491"/>
            <a:ext cx="3269490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31730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 bwMode="black"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rgbClr val="000001"/>
                </a:gs>
                <a:gs pos="100000">
                  <a:srgbClr val="191919"/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 bwMode="blackWhite"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1206" y="1129513"/>
            <a:ext cx="5532328" cy="1830584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50329" y="3145992"/>
            <a:ext cx="5524404" cy="2003742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447382" y="5469856"/>
            <a:ext cx="5527351" cy="320123"/>
          </a:xfrm>
        </p:spPr>
        <p:txBody>
          <a:bodyPr/>
          <a:lstStyle>
            <a:lvl1pPr algn="l">
              <a:defRPr/>
            </a:lvl1pPr>
          </a:lstStyle>
          <a:p>
            <a:fld id="{0512BD4D-7CB4-43F1-A0C0-6A77C46C338F}" type="datetimeFigureOut">
              <a:rPr lang="en-US" smtClean="0"/>
              <a:t>6/2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447382" y="318640"/>
            <a:ext cx="5541004" cy="320931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E77A8C-2EB7-4DB1-8100-6F1CD2991FFC}" type="slidenum">
              <a:rPr lang="en-US" smtClean="0"/>
              <a:t>‹#›</a:t>
            </a:fld>
            <a:endParaRPr lang="en-US"/>
          </a:p>
        </p:txBody>
      </p:sp>
      <p:cxnSp>
        <p:nvCxnSpPr>
          <p:cNvPr id="31" name="Straight Connector 30"/>
          <p:cNvCxnSpPr/>
          <p:nvPr/>
        </p:nvCxnSpPr>
        <p:spPr>
          <a:xfrm>
            <a:off x="1447382" y="3143605"/>
            <a:ext cx="5527351" cy="0"/>
          </a:xfrm>
          <a:prstGeom prst="line">
            <a:avLst/>
          </a:prstGeom>
          <a:ln w="317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71991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2019476"/>
            <a:ext cx="12192000" cy="410594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100000">
                <a:schemeClr val="bg2"/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 bwMode="black">
          <a:xfrm>
            <a:off x="0" y="6126480"/>
            <a:ext cx="12192000" cy="74295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51579" y="804519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1579" y="2015732"/>
            <a:ext cx="9603275" cy="34506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54138" y="330370"/>
            <a:ext cx="3500715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12BD4D-7CB4-43F1-A0C0-6A77C46C338F}" type="datetimeFigureOut">
              <a:rPr lang="en-US" smtClean="0"/>
              <a:t>6/2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51579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0060" y="798973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01E77A8C-2EB7-4DB1-8100-6F1CD2991FFC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0" y="6128413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EF319C1-809C-4DA0-A03A-989E6F62C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99054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01" imgH="502" progId="TCLayout.ActiveDocument.1">
                  <p:embed/>
                </p:oleObj>
              </mc:Choice>
              <mc:Fallback>
                <p:oleObj name="think-cell Slide" r:id="rId15" imgW="501" imgH="502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DFB1C9E6-EDBA-4B19-A8B6-36156C6C0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5954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all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6CBCCF6-6D1B-4969-B3E3-351DD0C470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597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E4AF10-E66C-4C5C-A4E0-CAE8A5FC04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3961" y="802298"/>
            <a:ext cx="11658600" cy="2541431"/>
          </a:xfrm>
        </p:spPr>
        <p:txBody>
          <a:bodyPr vert="horz"/>
          <a:lstStyle/>
          <a:p>
            <a:r>
              <a:rPr lang="en-US" dirty="0"/>
              <a:t>Non - Fungible Toke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D7D30D-5224-46AA-B4CF-E2E73BA1FB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Jyoti Ponnapalli</a:t>
            </a:r>
          </a:p>
        </p:txBody>
      </p:sp>
    </p:spTree>
    <p:extLst>
      <p:ext uri="{BB962C8B-B14F-4D97-AF65-F5344CB8AC3E}">
        <p14:creationId xmlns:p14="http://schemas.microsoft.com/office/powerpoint/2010/main" val="2482826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50AF893-9266-4012-96BF-4F456449C6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958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6C0C77-B70D-4EC5-A204-7C88A2C35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What is “non-fungible” asset?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049F099-CDE4-4BE2-853A-31627123B7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Fungible asset</a:t>
            </a:r>
          </a:p>
          <a:p>
            <a:pPr lvl="1"/>
            <a:r>
              <a:rPr lang="en-US" dirty="0"/>
              <a:t>Oil</a:t>
            </a:r>
          </a:p>
          <a:p>
            <a:pPr lvl="1"/>
            <a:r>
              <a:rPr lang="en-US" dirty="0"/>
              <a:t>Penny</a:t>
            </a:r>
          </a:p>
          <a:p>
            <a:pPr lvl="1"/>
            <a:r>
              <a:rPr lang="en-US" dirty="0"/>
              <a:t>Bitcoin</a:t>
            </a:r>
          </a:p>
          <a:p>
            <a:pPr lvl="1"/>
            <a:endParaRPr lang="en-US" dirty="0"/>
          </a:p>
          <a:p>
            <a:r>
              <a:rPr lang="en-US" dirty="0"/>
              <a:t>Non-Fungible asset</a:t>
            </a:r>
          </a:p>
          <a:p>
            <a:pPr lvl="1"/>
            <a:r>
              <a:rPr lang="en-US" dirty="0"/>
              <a:t>Art</a:t>
            </a:r>
          </a:p>
          <a:p>
            <a:pPr lvl="1"/>
            <a:r>
              <a:rPr lang="en-US" dirty="0"/>
              <a:t>Title</a:t>
            </a:r>
          </a:p>
          <a:p>
            <a:pPr lvl="1"/>
            <a:r>
              <a:rPr lang="en-US" dirty="0"/>
              <a:t>Deed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835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D4CDA15-0379-462D-8B20-49AC1E1A512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5" b="-1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296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0591FC6-3C22-4852-9F99-94ADEE7F495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6387" r="20701"/>
          <a:stretch/>
        </p:blipFill>
        <p:spPr>
          <a:xfrm>
            <a:off x="1832664" y="321734"/>
            <a:ext cx="2675840" cy="290517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83BE7CC-A17F-4850-B841-E50BF185E0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1" y="4455133"/>
            <a:ext cx="5426764" cy="1112486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799448F2-0E5B-42DA-B2D1-11A14E947B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050280" y="0"/>
            <a:ext cx="9144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E8A7552-20E1-4F34-ADAB-C1DB6634D4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3383280"/>
            <a:ext cx="6126480" cy="9144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FE0FB7-4F45-45FC-94C6-A049BDF3F58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368" r="22370" b="2"/>
          <a:stretch/>
        </p:blipFill>
        <p:spPr>
          <a:xfrm>
            <a:off x="6308034" y="410735"/>
            <a:ext cx="5426764" cy="5891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700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5A376D8-E1A8-4D54-BFBC-42B8489FCE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301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B8B2719-2CB5-4C43-80A0-DC9E5F1DE8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Use cas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9251C7-8662-4E36-AA2C-139D03169F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/>
              <a:t>Art </a:t>
            </a:r>
            <a:endParaRPr lang="en-US" dirty="0"/>
          </a:p>
          <a:p>
            <a:r>
              <a:rPr lang="en-US" dirty="0"/>
              <a:t>Certification</a:t>
            </a:r>
          </a:p>
          <a:p>
            <a:r>
              <a:rPr lang="en-US" dirty="0"/>
              <a:t>Collectibles</a:t>
            </a:r>
          </a:p>
          <a:p>
            <a:r>
              <a:rPr lang="en-US" dirty="0"/>
              <a:t>Physical assets</a:t>
            </a:r>
          </a:p>
          <a:p>
            <a:r>
              <a:rPr lang="en-US" dirty="0"/>
              <a:t>Tickets &amp; Coupons</a:t>
            </a:r>
          </a:p>
          <a:p>
            <a:r>
              <a:rPr lang="en-US" dirty="0"/>
              <a:t>Art collectibles</a:t>
            </a:r>
          </a:p>
          <a:p>
            <a:r>
              <a:rPr lang="en-US" dirty="0"/>
              <a:t>Music</a:t>
            </a:r>
          </a:p>
          <a:p>
            <a:r>
              <a:rPr lang="en-US" dirty="0"/>
              <a:t>Gaming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2133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18EE51D-D82B-4139-BB34-6980C094FD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1920" y="165463"/>
            <a:ext cx="11922034" cy="6627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9461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FDBD5"/>
      </a:lt2>
      <a:accent1>
        <a:srgbClr val="B71E42"/>
      </a:accent1>
      <a:accent2>
        <a:srgbClr val="DE478E"/>
      </a:accent2>
      <a:accent3>
        <a:srgbClr val="BC72F0"/>
      </a:accent3>
      <a:accent4>
        <a:srgbClr val="795FAF"/>
      </a:accent4>
      <a:accent5>
        <a:srgbClr val="586EA6"/>
      </a:accent5>
      <a:accent6>
        <a:srgbClr val="6892A0"/>
      </a:accent6>
      <a:hlink>
        <a:srgbClr val="FA2B5C"/>
      </a:hlink>
      <a:folHlink>
        <a:srgbClr val="BC658E"/>
      </a:folHlink>
    </a:clrScheme>
    <a:fontScheme name="Gallery">
      <a:majorFont>
        <a:latin typeface="Gill Sans MT" panose="020B0502020104020203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</a:schemeClr>
            </a:gs>
          </a:gsLst>
          <a:path path="circle">
            <a:fillToRect l="43000" r="43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F5E91637-A7B6-4E27-B710-77DA7014EE1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361</TotalTime>
  <Words>37</Words>
  <Application>Microsoft Office PowerPoint</Application>
  <PresentationFormat>Widescreen</PresentationFormat>
  <Paragraphs>21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Gill Sans MT</vt:lpstr>
      <vt:lpstr>Gallery</vt:lpstr>
      <vt:lpstr>think-cell Slide</vt:lpstr>
      <vt:lpstr>Non - Fungible Token</vt:lpstr>
      <vt:lpstr>What is “non-fungible” asset?</vt:lpstr>
      <vt:lpstr>PowerPoint Presentation</vt:lpstr>
      <vt:lpstr>PowerPoint Presentation</vt:lpstr>
      <vt:lpstr>Use cas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n Fungible Token</dc:title>
  <dc:creator>Jyoti Ponnapalli</dc:creator>
  <cp:lastModifiedBy>Jyoti Ponnapalli</cp:lastModifiedBy>
  <cp:revision>12</cp:revision>
  <dcterms:created xsi:type="dcterms:W3CDTF">2021-06-01T18:53:55Z</dcterms:created>
  <dcterms:modified xsi:type="dcterms:W3CDTF">2021-06-02T16:57:58Z</dcterms:modified>
</cp:coreProperties>
</file>